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2.xml" ContentType="application/vnd.openxmlformats-officedocument.presentationml.tags+xml"/>
  <Override PartName="/ppt/charts/chart35.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
  </p:notesMasterIdLst>
  <p:sldIdLst>
    <p:sldId id="2147475134" r:id="rId5"/>
    <p:sldId id="2147475144" r:id="rId6"/>
    <p:sldId id="2147475170" r:id="rId7"/>
    <p:sldId id="299" r:id="rId8"/>
    <p:sldId id="2147475141" r:id="rId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D118CAC-8D7A-436B-8EC0-E885B730C9B7}"/>
    <pc:docChg chg="modSld">
      <pc:chgData name="Neriman EL HADIDI" userId="4b24840c-84b3-44ac-9131-ca3568cb403b" providerId="ADAL" clId="{AD118CAC-8D7A-436B-8EC0-E885B730C9B7}" dt="2024-11-01T10:24:32.959" v="0"/>
      <pc:docMkLst>
        <pc:docMk/>
      </pc:docMkLst>
      <pc:sldChg chg="modSp">
        <pc:chgData name="Neriman EL HADIDI" userId="4b24840c-84b3-44ac-9131-ca3568cb403b" providerId="ADAL" clId="{AD118CAC-8D7A-436B-8EC0-E885B730C9B7}" dt="2024-11-01T10:24:32.959" v="0"/>
        <pc:sldMkLst>
          <pc:docMk/>
          <pc:sldMk cId="3550599123" sldId="2147475141"/>
        </pc:sldMkLst>
        <pc:graphicFrameChg chg="mod">
          <ac:chgData name="Neriman EL HADIDI" userId="4b24840c-84b3-44ac-9131-ca3568cb403b" providerId="ADAL" clId="{AD118CAC-8D7A-436B-8EC0-E885B730C9B7}" dt="2024-11-01T10:24:32.959" v="0"/>
          <ac:graphicFrameMkLst>
            <pc:docMk/>
            <pc:sldMk cId="3550599123" sldId="2147475141"/>
            <ac:graphicFrameMk id="11" creationId="{ABBFF452-B9E6-4965-96BF-880B0830634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5/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5/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5/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5/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5/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5/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5/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5/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5/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notesSlide" Target="../notesSlides/notesSlide1.xml"/><Relationship Id="rId7" Type="http://schemas.openxmlformats.org/officeDocument/2006/relationships/chart" Target="../charts/chart5.xml"/><Relationship Id="rId12"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image" Target="../media/image28.emf"/><Relationship Id="rId10" Type="http://schemas.openxmlformats.org/officeDocument/2006/relationships/chart" Target="../charts/chart8.xml"/><Relationship Id="rId4" Type="http://schemas.openxmlformats.org/officeDocument/2006/relationships/oleObject" Target="../embeddings/oleObject27.bin"/><Relationship Id="rId9" Type="http://schemas.openxmlformats.org/officeDocument/2006/relationships/chart" Target="../charts/chart7.xml"/></Relationships>
</file>

<file path=ppt/slides/_rels/slide3.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30.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4.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17" Type="http://schemas.openxmlformats.org/officeDocument/2006/relationships/chart" Target="../charts/chart34.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1.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3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5/14/2025</a:t>
            </a:fld>
            <a:endParaRPr lang="en-US" sz="500"/>
          </a:p>
        </p:txBody>
      </p:sp>
    </p:spTree>
    <p:extLst>
      <p:ext uri="{BB962C8B-B14F-4D97-AF65-F5344CB8AC3E}">
        <p14:creationId xmlns:p14="http://schemas.microsoft.com/office/powerpoint/2010/main" val="12241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5/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321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5/14/2025</a:t>
            </a:fld>
            <a:endParaRPr lang="en-US" sz="500"/>
          </a:p>
        </p:txBody>
      </p:sp>
    </p:spTree>
    <p:extLst>
      <p:ext uri="{BB962C8B-B14F-4D97-AF65-F5344CB8AC3E}">
        <p14:creationId xmlns:p14="http://schemas.microsoft.com/office/powerpoint/2010/main" val="2688789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5/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4556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5/14/2025</a:t>
            </a:fld>
            <a:endParaRPr lang="en-US" sz="500"/>
          </a:p>
        </p:txBody>
      </p:sp>
    </p:spTree>
    <p:extLst>
      <p:ext uri="{BB962C8B-B14F-4D97-AF65-F5344CB8AC3E}">
        <p14:creationId xmlns:p14="http://schemas.microsoft.com/office/powerpoint/2010/main" val="355059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627</Words>
  <Application>Microsoft Office PowerPoint</Application>
  <PresentationFormat>On-screen Show (16:9)</PresentationFormat>
  <Paragraphs>236</Paragraphs>
  <Slides>5</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nd Share Topline By Size Bracket (Replace With SO WHAT)</vt:lpstr>
      <vt:lpstr>Size Bracket by Sector/Segment (Replace With SO WHAT)</vt:lpstr>
      <vt:lpstr>Brackets Analysis By Sector (Replace with SO WHAT)</vt:lpstr>
      <vt:lpstr>Brackets Analysis By Segment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3</cp:revision>
  <dcterms:created xsi:type="dcterms:W3CDTF">2024-07-05T11:30:58Z</dcterms:created>
  <dcterms:modified xsi:type="dcterms:W3CDTF">2025-05-14T13: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